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5" r:id="rId1"/>
    <p:sldMasterId id="2147483791" r:id="rId2"/>
    <p:sldMasterId id="2147483804" r:id="rId3"/>
  </p:sldMasterIdLst>
  <p:notesMasterIdLst>
    <p:notesMasterId r:id="rId13"/>
  </p:notesMasterIdLst>
  <p:handoutMasterIdLst>
    <p:handoutMasterId r:id="rId14"/>
  </p:handoutMasterIdLst>
  <p:sldIdLst>
    <p:sldId id="297" r:id="rId4"/>
    <p:sldId id="299" r:id="rId5"/>
    <p:sldId id="306" r:id="rId6"/>
    <p:sldId id="315" r:id="rId7"/>
    <p:sldId id="317" r:id="rId8"/>
    <p:sldId id="309" r:id="rId9"/>
    <p:sldId id="259" r:id="rId10"/>
    <p:sldId id="319" r:id="rId11"/>
    <p:sldId id="300" r:id="rId12"/>
  </p:sldIdLst>
  <p:sldSz cx="12192000" cy="6858000"/>
  <p:notesSz cx="7099300" cy="10234613"/>
  <p:custDataLst>
    <p:tags r:id="rId1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" initials="K.B." lastIdx="37" clrIdx="0">
    <p:extLst>
      <p:ext uri="{19B8F6BF-5375-455C-9EA6-DF929625EA0E}">
        <p15:presenceInfo xmlns:p15="http://schemas.microsoft.com/office/powerpoint/2012/main" userId="Katr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4546A"/>
    <a:srgbClr val="FFC000"/>
    <a:srgbClr val="000000"/>
    <a:srgbClr val="666666"/>
    <a:srgbClr val="368F9A"/>
    <a:srgbClr val="427BAB"/>
    <a:srgbClr val="64B9E4"/>
    <a:srgbClr val="9F4C97"/>
    <a:srgbClr val="EDA95A"/>
    <a:srgbClr val="FDD1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109552-D979-4D6B-83F4-560386EDCA54}" v="3" dt="2018-07-13T20:32:15.2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76" autoAdjust="0"/>
    <p:restoredTop sz="95400" autoAdjust="0"/>
  </p:normalViewPr>
  <p:slideViewPr>
    <p:cSldViewPr snapToGrid="0" snapToObjects="1" showGuides="1">
      <p:cViewPr varScale="1">
        <p:scale>
          <a:sx n="125" d="100"/>
          <a:sy n="125" d="100"/>
        </p:scale>
        <p:origin x="259" y="9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 Noack" userId="1fd723b82c8952f2" providerId="LiveId" clId="{0D109552-D979-4D6B-83F4-560386EDCA54}"/>
    <pc:docChg chg="modSld">
      <pc:chgData name="Philipp Noack" userId="1fd723b82c8952f2" providerId="LiveId" clId="{0D109552-D979-4D6B-83F4-560386EDCA54}" dt="2018-07-13T20:32:15.274" v="2" actId="1076"/>
      <pc:docMkLst>
        <pc:docMk/>
      </pc:docMkLst>
      <pc:sldChg chg="addSp modSp modAnim">
        <pc:chgData name="Philipp Noack" userId="1fd723b82c8952f2" providerId="LiveId" clId="{0D109552-D979-4D6B-83F4-560386EDCA54}" dt="2018-07-13T20:32:15.274" v="2" actId="1076"/>
        <pc:sldMkLst>
          <pc:docMk/>
          <pc:sldMk cId="907352605" sldId="299"/>
        </pc:sldMkLst>
        <pc:picChg chg="add mod">
          <ac:chgData name="Philipp Noack" userId="1fd723b82c8952f2" providerId="LiveId" clId="{0D109552-D979-4D6B-83F4-560386EDCA54}" dt="2018-07-13T20:32:15.274" v="2" actId="1076"/>
          <ac:picMkLst>
            <pc:docMk/>
            <pc:sldMk cId="907352605" sldId="299"/>
            <ac:picMk id="3" creationId="{CCBF1BB0-C633-4375-9CF8-A227759FDFD1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6124E547-6947-413A-A799-24B7A47CB302}" type="datetime1">
              <a:rPr lang="de-DE" smtClean="0"/>
              <a:t>13.07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BE7E2C27-86FA-4001-89D2-BFB4E638FA91}" type="datetime1">
              <a:rPr lang="de-DE" smtClean="0"/>
              <a:t>13.07.2018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35ACE5FD-86D7-40F7-9E4D-B410B2AB5A72}" type="datetime1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625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</a:t>
            </a:r>
            <a:r>
              <a:rPr lang="de-DE" baseline="0" dirty="0"/>
              <a:t> www.flaticon.co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296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</a:t>
            </a:r>
            <a:r>
              <a:rPr lang="de-DE" baseline="0" dirty="0"/>
              <a:t> www.flaticon.co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414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</a:t>
            </a:r>
            <a:r>
              <a:rPr lang="de-DE" baseline="0" dirty="0"/>
              <a:t> www.flaticon.co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BE7E2C27-86FA-4001-89D2-BFB4E638FA91}" type="datetime1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871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 descr="PPT_Logo_INF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2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6779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524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8022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68552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4788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311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6503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36388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963252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002830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85851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66631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173496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56662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A2556A-1C1D-4022-91DB-3D1B983DA4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8EBCE26-3DEB-4B52-8ECE-E4D9246500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594A3A-EEE4-443C-8BCC-36D2DD234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DC0035-8200-46BA-8A8A-DE7C308A2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E7B8FF-0C42-4B27-8419-574CDB167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03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7CF5E9-DBEB-4E51-8379-E83037A9E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24EAC1-B377-4DE0-B1B9-85841F5FD2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918569A-8442-43D7-8922-CB8B7B8D97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6D72DC-6B46-43AC-9359-392A67050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2C0931-C6C8-4CA2-87AA-6C38303FD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2399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7ADE12-4AA5-47D0-82DD-5ACE6A8CE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C8A5ED-ED61-4C66-BC36-4914D185C0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72919F-CAB7-4916-9B20-33FCEA412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888A65-6B1B-4BCA-A897-BC1A7D797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71742C0-5441-43C4-9E50-4A034D782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265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9A1B6-4EFE-4421-8FCD-E4B7F45B0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38B3B9-E385-4320-8615-C5F6B6AAAA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D299E6-5AAC-47B2-934E-A1B095FCA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2D048E-53F5-4C30-80D8-C64C84496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6E012E-5B88-4F3E-BFB4-F314F5A29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44F0F77-25B8-415B-9C4C-21E638719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9486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174542-EAAB-48CB-989B-A249F0BDE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B19DE2-C30F-448E-8A4E-40D56BE861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CD428B5-6D3A-4462-96BB-8EB7BE3B82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03306B-0131-496A-9CFA-15B87587B0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F5885D-F514-48BE-B3AE-FA939A866E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4F24A3-9AC6-425B-9907-F049E0FB1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C62969A-0F3D-4767-915E-597E1454E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167362-FD47-47BB-8E9A-41456A611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74370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16444D-F5E7-4D30-83D8-A1C77D01C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86A8D2-24B6-4A36-B6E2-A74DFB4B0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B7A98A2-F80C-46F8-B886-D3B4268D4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BF6950-301D-4E64-85FD-D6C20BE8F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40449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F4EEC5B-5294-4958-B1D3-B9C258F2D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7C7EA5-9017-4A8E-9E6B-208403B0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BBF6BC8-267C-40E1-9464-4BDAA3178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90357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523F46-9CBE-4419-BC04-74F46921C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9EB57-4026-4E4C-892C-D8B3DD90DE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3E207F5-410A-478D-83C3-98F33C727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281028A-C714-48B3-9BE6-728998E6D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828BFDD-A9DE-47BB-91B9-BDCA8E991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86F8C6F-22AE-4AFB-826E-259326D06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1190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02E475-D072-4104-930C-73F58684E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CE4C68-7497-4245-954A-608A5BB7D2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FE5B815-FAAC-4B98-93FE-0AB87E3A04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F14A052-3059-49C2-B58C-B604C98AB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E0C9349-A95D-4AD1-B16E-B4B21D4E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B94F291-EFE8-4148-9B7A-E6CF2E200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85563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24CC4F-4C90-402B-848D-DD08C15AC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E4B68A1-0AE0-4E8D-BB87-E56DAD4F00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7A2949-3E46-4E5B-8649-7F4803B30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42DFF3-FB0B-4E1B-B337-8E6D57CE9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072F79-232F-4D59-83A9-BBEC9324C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938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4413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8916F9CE-1047-42AE-9B5D-7EE1059F8C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FAA5000-9881-4C7F-A7F9-19317A0A6D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9BBD56-2092-46BA-913E-3248DCC03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3382C4-1588-4EF7-B77D-2AE4FC6CA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2DBE0F-75FD-4FC6-8E80-4D6C4FE95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3845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593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3772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185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052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 descr="PPT_Logo_INF.png">
            <a:extLst>
              <a:ext uri="{FF2B5EF4-FFF2-40B4-BE49-F238E27FC236}">
                <a16:creationId xmlns:a16="http://schemas.microsoft.com/office/drawing/2014/main" id="{D8897D04-1846-4CA3-882F-5D188B8C7C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97971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850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498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67000" y="6356350"/>
            <a:ext cx="2743200" cy="365125"/>
          </a:xfrm>
          <a:prstGeom prst="rect">
            <a:avLst/>
          </a:prstGeom>
        </p:spPr>
        <p:txBody>
          <a:bodyPr/>
          <a:lstStyle>
            <a:lvl1pPr algn="ct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lang="de-DE" sz="1200" kern="1200" smtClean="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</a:lstStyle>
          <a:p>
            <a:r>
              <a:rPr lang="de-DE" dirty="0"/>
              <a:t>15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fld id="{F47E63AA-3258-4182-9CF6-79391F3D6E7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97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55156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6" y="6372716"/>
            <a:ext cx="2100024" cy="394821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 bwMode="gray">
          <a:xfrm>
            <a:off x="2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547566" y="6326992"/>
            <a:ext cx="2404436" cy="48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84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1" r:id="rId5"/>
    <p:sldLayoutId id="2147483782" r:id="rId6"/>
    <p:sldLayoutId id="214748378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10450AF-E424-453F-991A-F6B553420DF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5" y="6432106"/>
            <a:ext cx="2328625" cy="394821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2766A4B5-1926-4D5B-BE41-028A6B43F02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 bwMode="gray">
          <a:xfrm>
            <a:off x="-53609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6E68BD6-0FEE-4A60-9907-F87F526BFC47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547565" y="6326990"/>
            <a:ext cx="2404436" cy="480887"/>
          </a:xfrm>
          <a:prstGeom prst="rect">
            <a:avLst/>
          </a:prstGeom>
        </p:spPr>
      </p:pic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3690892" y="6427377"/>
            <a:ext cx="1213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5.06.2018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252804" y="6427377"/>
            <a:ext cx="31700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mart Checkout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71140" y="6427377"/>
            <a:ext cx="700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7E63AA-3258-4182-9CF6-79391F3D6E7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44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712D9E-895A-44E7-BF28-8A2D7648A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298192-9DBD-4A39-92E3-A2D1115292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B60585F-00D5-4865-89E6-14933D5657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AE136F-EDA4-4E4E-86D3-E43A0DC19E71}" type="datetimeFigureOut">
              <a:rPr lang="de-DE" smtClean="0"/>
              <a:t>13.07.20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52DD22-D7B1-4C03-9D97-00A694E90B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C1947B9-1B0B-4110-81F2-B71288AE1C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2D95D2-339B-4060-878E-D796CE7DCC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5906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Hackathon</a:t>
            </a:r>
            <a:br>
              <a:rPr lang="de-DE">
                <a:solidFill>
                  <a:schemeClr val="tx2"/>
                </a:solidFill>
              </a:rPr>
            </a:br>
            <a:r>
              <a:rPr lang="de-DE" sz="3300">
                <a:solidFill>
                  <a:schemeClr val="tx2"/>
                </a:solidFill>
              </a:rPr>
              <a:t>Smart Contrac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/>
              <a:t>   Ricardo Czernotzky, Lorenz Hajek, Waleri Janzen, Rabia Karatas, Joey Kiefer, Patrick Klyeisen, Alejandro Montemajor, Philipp Noack, Mustafa Satin, Jan Niclas Weiss</a:t>
            </a:r>
          </a:p>
          <a:p>
            <a:pPr>
              <a:lnSpc>
                <a:spcPct val="120000"/>
              </a:lnSpc>
            </a:pPr>
            <a:r>
              <a:rPr lang="de-DE"/>
              <a:t>06.07.2018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F2272E5-40BD-4EAB-A32A-6939A63A5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8075" y="380291"/>
            <a:ext cx="1428750" cy="538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91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Video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292169" y="6382987"/>
            <a:ext cx="910236" cy="365125"/>
          </a:xfrm>
        </p:spPr>
        <p:txBody>
          <a:bodyPr/>
          <a:lstStyle/>
          <a:p>
            <a:r>
              <a:rPr lang="de-DE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463603" y="6382987"/>
            <a:ext cx="2377552" cy="365125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  <p:pic>
        <p:nvPicPr>
          <p:cNvPr id="3" name="Video NEU">
            <a:hlinkClick r:id="" action="ppaction://media"/>
            <a:extLst>
              <a:ext uri="{FF2B5EF4-FFF2-40B4-BE49-F238E27FC236}">
                <a16:creationId xmlns:a16="http://schemas.microsoft.com/office/drawing/2014/main" id="{CCBF1BB0-C633-4375-9CF8-A227759FDFD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44810" y="1054608"/>
            <a:ext cx="8702379" cy="489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35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48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27651" y="136525"/>
            <a:ext cx="7886700" cy="1325563"/>
          </a:xfrm>
        </p:spPr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Project Goa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27651" y="14673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/>
              <a:t>Designing a business case and implementing a concept for using a smart contract within a private blockchain to represent the trade of electricity between multiple actors.</a:t>
            </a:r>
            <a:endParaRPr lang="de-DE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021" y="3373341"/>
            <a:ext cx="2448490" cy="24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34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27651" y="146354"/>
            <a:ext cx="7886700" cy="1325563"/>
          </a:xfrm>
        </p:spPr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Project Tas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27651" y="1471917"/>
            <a:ext cx="10515600" cy="4351338"/>
          </a:xfrm>
        </p:spPr>
        <p:txBody>
          <a:bodyPr>
            <a:normAutofit/>
          </a:bodyPr>
          <a:lstStyle/>
          <a:p>
            <a:r>
              <a:rPr lang="en-US" sz="3200"/>
              <a:t>Establish a Business Case for the given Goal</a:t>
            </a:r>
          </a:p>
          <a:p>
            <a:r>
              <a:rPr lang="en-US" sz="3200"/>
              <a:t>Create a private blockchain network with 5 nodes by using Raspberry Pi’s and Notebooks</a:t>
            </a:r>
          </a:p>
          <a:p>
            <a:r>
              <a:rPr lang="en-US" sz="3200"/>
              <a:t>The 5 nodes represent electricity providers and consumers</a:t>
            </a:r>
          </a:p>
          <a:p>
            <a:r>
              <a:rPr lang="en-US" sz="3200"/>
              <a:t>Electricity prices and capacities are generated in a Matlab simulation</a:t>
            </a:r>
          </a:p>
          <a:p>
            <a:r>
              <a:rPr lang="en-US" sz="3200"/>
              <a:t>Based on this simulated data, a smart contract shall be established between the corresponding nodes</a:t>
            </a:r>
            <a:endParaRPr lang="de-DE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</p:spTree>
    <p:extLst>
      <p:ext uri="{BB962C8B-B14F-4D97-AF65-F5344CB8AC3E}">
        <p14:creationId xmlns:p14="http://schemas.microsoft.com/office/powerpoint/2010/main" val="125141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9751" y="149345"/>
            <a:ext cx="7886700" cy="1325563"/>
          </a:xfrm>
        </p:spPr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Component Layer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A68B28A-FE97-4FB4-882C-FAD91C0AEA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936" y="1125939"/>
            <a:ext cx="5279667" cy="490810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AE4291E-F36F-480B-80AE-3FC8D167E5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9802" y="2364037"/>
            <a:ext cx="309173" cy="30917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1AF5EE5E-1C24-44EF-8FCA-6C0FA3358EBE}"/>
              </a:ext>
            </a:extLst>
          </p:cNvPr>
          <p:cNvSpPr txBox="1"/>
          <p:nvPr/>
        </p:nvSpPr>
        <p:spPr>
          <a:xfrm>
            <a:off x="6096000" y="2031225"/>
            <a:ext cx="590947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/>
              <a:t>5 nodes connected via the Blockchain</a:t>
            </a: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/>
              <a:t>nodes connected to the power grid</a:t>
            </a: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2800"/>
              <a:t>corresponds to the Matlab model which generates the data</a:t>
            </a:r>
          </a:p>
        </p:txBody>
      </p:sp>
    </p:spTree>
    <p:extLst>
      <p:ext uri="{BB962C8B-B14F-4D97-AF65-F5344CB8AC3E}">
        <p14:creationId xmlns:p14="http://schemas.microsoft.com/office/powerpoint/2010/main" val="357167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6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mart Checkout</a:t>
            </a:r>
          </a:p>
        </p:txBody>
      </p:sp>
      <p:sp>
        <p:nvSpPr>
          <p:cNvPr id="36" name="Titel 1">
            <a:extLst>
              <a:ext uri="{FF2B5EF4-FFF2-40B4-BE49-F238E27FC236}">
                <a16:creationId xmlns:a16="http://schemas.microsoft.com/office/drawing/2014/main" id="{2DF74347-3921-457A-9536-4EF9AFC37A2B}"/>
              </a:ext>
            </a:extLst>
          </p:cNvPr>
          <p:cNvSpPr txBox="1">
            <a:spLocks/>
          </p:cNvSpPr>
          <p:nvPr/>
        </p:nvSpPr>
        <p:spPr>
          <a:xfrm>
            <a:off x="919751" y="1365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>
                <a:solidFill>
                  <a:schemeClr val="tx2"/>
                </a:solidFill>
              </a:rPr>
              <a:t>Concept: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7E1786BD-E29B-419F-B2DC-ADA9B157B2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15" y="1278121"/>
            <a:ext cx="7506910" cy="4494914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332C4926-5BD3-4AED-9761-DD5D9F9CE8D5}"/>
              </a:ext>
            </a:extLst>
          </p:cNvPr>
          <p:cNvSpPr txBox="1"/>
          <p:nvPr/>
        </p:nvSpPr>
        <p:spPr>
          <a:xfrm>
            <a:off x="7514908" y="1857630"/>
            <a:ext cx="468522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AutoNum type="arabicPeriod"/>
            </a:pPr>
            <a:r>
              <a:rPr lang="en-US" sz="2000"/>
              <a:t>Matlab Simulation provides data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AutoNum type="arabicPeriod"/>
            </a:pPr>
            <a:r>
              <a:rPr lang="en-US" sz="2000"/>
              <a:t>The Smart Contract data is written to the blockchain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AutoNum type="arabicPeriod"/>
            </a:pPr>
            <a:r>
              <a:rPr lang="en-US" sz="2000"/>
              <a:t>The Smart Contract is verified by all nodes in the Blockchain network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AutoNum type="arabicPeriod"/>
            </a:pPr>
            <a:r>
              <a:rPr lang="en-US" sz="2000"/>
              <a:t>When the network verifies the Smart Contract, the Contract is executed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AutoNum type="arabicPeriod"/>
            </a:pPr>
            <a:r>
              <a:rPr lang="en-US" sz="2000"/>
              <a:t>The customer receives the electricity agreed in the contract</a:t>
            </a:r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273626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15DFF82B-63B6-459C-ADE3-5961175B03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188" y="5108507"/>
            <a:ext cx="1478925" cy="147892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CB7BEB6-9D72-4ED4-8E66-531F11F5A41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26"/>
          <a:stretch/>
        </p:blipFill>
        <p:spPr>
          <a:xfrm>
            <a:off x="9260794" y="625917"/>
            <a:ext cx="1868963" cy="132649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492CCA97-6B64-4D60-B58A-8D0B64C00248}"/>
              </a:ext>
            </a:extLst>
          </p:cNvPr>
          <p:cNvSpPr/>
          <p:nvPr/>
        </p:nvSpPr>
        <p:spPr>
          <a:xfrm>
            <a:off x="3342634" y="1952407"/>
            <a:ext cx="5984800" cy="2827777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Contrac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7142859A-8364-48AD-A327-797877D377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26" y="3191579"/>
            <a:ext cx="347654" cy="553987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5011C66-C706-4671-B595-22FBAC0A4D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34" y="1424186"/>
            <a:ext cx="1584773" cy="1584773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9424B3E8-EB9E-4219-8433-8108266DA0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370" y="96664"/>
            <a:ext cx="1342154" cy="1706357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F792276A-2349-43B2-946A-64DF467DC2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773" y="4949131"/>
            <a:ext cx="1876972" cy="1814406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155E214E-EFEF-4888-A4F3-B9A2230801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61" y="2804402"/>
            <a:ext cx="1123785" cy="1123785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007F7F49-2829-4306-A584-277B4F0CFF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6395" y="5627500"/>
            <a:ext cx="1123785" cy="1123785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38EE1A7C-2722-4315-BC32-B6EA9F6B74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602" y="1908869"/>
            <a:ext cx="3026226" cy="3040262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3747C7C5-0288-4997-B949-3AEC74C985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343" y="5559827"/>
            <a:ext cx="1123785" cy="1123785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0F35D906-C0B1-4A8D-B92C-76A411C193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14" y="143958"/>
            <a:ext cx="1123785" cy="1123785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476DB363-215D-4BD4-8A16-6788DC1034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957" y="114024"/>
            <a:ext cx="1123785" cy="1123785"/>
          </a:xfrm>
          <a:prstGeom prst="rect">
            <a:avLst/>
          </a:prstGeom>
        </p:spPr>
      </p:pic>
      <p:sp>
        <p:nvSpPr>
          <p:cNvPr id="74" name="Textfeld 73">
            <a:extLst>
              <a:ext uri="{FF2B5EF4-FFF2-40B4-BE49-F238E27FC236}">
                <a16:creationId xmlns:a16="http://schemas.microsoft.com/office/drawing/2014/main" id="{084A01F3-1555-47C2-BC1B-F05EEFD24649}"/>
              </a:ext>
            </a:extLst>
          </p:cNvPr>
          <p:cNvSpPr txBox="1"/>
          <p:nvPr/>
        </p:nvSpPr>
        <p:spPr>
          <a:xfrm>
            <a:off x="4638374" y="2743675"/>
            <a:ext cx="128778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id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ttery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V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ad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P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: </a:t>
            </a:r>
          </a:p>
        </p:txBody>
      </p:sp>
      <p:sp>
        <p:nvSpPr>
          <p:cNvPr id="84" name="Pfeil: nach unten 83">
            <a:extLst>
              <a:ext uri="{FF2B5EF4-FFF2-40B4-BE49-F238E27FC236}">
                <a16:creationId xmlns:a16="http://schemas.microsoft.com/office/drawing/2014/main" id="{81BDDE74-196B-4EE9-B230-046F15D0C003}"/>
              </a:ext>
            </a:extLst>
          </p:cNvPr>
          <p:cNvSpPr/>
          <p:nvPr/>
        </p:nvSpPr>
        <p:spPr>
          <a:xfrm rot="10800000">
            <a:off x="8636982" y="1262765"/>
            <a:ext cx="326214" cy="553987"/>
          </a:xfrm>
          <a:prstGeom prst="down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Pfeil: nach unten 84">
            <a:extLst>
              <a:ext uri="{FF2B5EF4-FFF2-40B4-BE49-F238E27FC236}">
                <a16:creationId xmlns:a16="http://schemas.microsoft.com/office/drawing/2014/main" id="{9C6B61DB-82EB-403B-B81D-8B9FF58D8335}"/>
              </a:ext>
            </a:extLst>
          </p:cNvPr>
          <p:cNvSpPr/>
          <p:nvPr/>
        </p:nvSpPr>
        <p:spPr>
          <a:xfrm rot="10800000">
            <a:off x="8616756" y="4929570"/>
            <a:ext cx="326214" cy="5539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Pfeil: nach unten 85">
            <a:extLst>
              <a:ext uri="{FF2B5EF4-FFF2-40B4-BE49-F238E27FC236}">
                <a16:creationId xmlns:a16="http://schemas.microsoft.com/office/drawing/2014/main" id="{350195F9-7269-4543-9BF4-7E9AEE44BFF6}"/>
              </a:ext>
            </a:extLst>
          </p:cNvPr>
          <p:cNvSpPr/>
          <p:nvPr/>
        </p:nvSpPr>
        <p:spPr>
          <a:xfrm>
            <a:off x="5296368" y="4968692"/>
            <a:ext cx="326214" cy="553987"/>
          </a:xfrm>
          <a:prstGeom prst="down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7" name="Grafik 86">
            <a:extLst>
              <a:ext uri="{FF2B5EF4-FFF2-40B4-BE49-F238E27FC236}">
                <a16:creationId xmlns:a16="http://schemas.microsoft.com/office/drawing/2014/main" id="{1C40504A-D96B-44C4-AA22-38227E78F3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308" y="5998627"/>
            <a:ext cx="347654" cy="553987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AF513E98-FC18-4D31-8DF8-DDAA885F80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209" y="5912398"/>
            <a:ext cx="347654" cy="553987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CCF065E1-76AD-495B-9416-AD91F20B22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647" y="456590"/>
            <a:ext cx="347654" cy="553987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A4AFFD61-56F5-4D99-BD88-2D75C61137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756" y="521236"/>
            <a:ext cx="347654" cy="553987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6A63559B-C205-4B69-AD7D-BCD7C82394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0457" y="4027983"/>
            <a:ext cx="318787" cy="507988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012B117C-593D-4107-91D3-C102B42D84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334" y="2861840"/>
            <a:ext cx="318787" cy="507988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7D02D531-5801-478B-AB3A-4833A1D6E8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072" y="3891073"/>
            <a:ext cx="318787" cy="507988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99E172A9-B9E6-4DE9-A30B-F3DDE6B2B2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118" y="3125615"/>
            <a:ext cx="318787" cy="507988"/>
          </a:xfrm>
          <a:prstGeom prst="rect">
            <a:avLst/>
          </a:prstGeom>
        </p:spPr>
      </p:pic>
      <p:sp>
        <p:nvSpPr>
          <p:cNvPr id="95" name="Pfeil: nach unten 94">
            <a:extLst>
              <a:ext uri="{FF2B5EF4-FFF2-40B4-BE49-F238E27FC236}">
                <a16:creationId xmlns:a16="http://schemas.microsoft.com/office/drawing/2014/main" id="{0B0A87B0-F24B-4300-AA26-BF3649ED0711}"/>
              </a:ext>
            </a:extLst>
          </p:cNvPr>
          <p:cNvSpPr/>
          <p:nvPr/>
        </p:nvSpPr>
        <p:spPr>
          <a:xfrm rot="16200000">
            <a:off x="2400974" y="2656965"/>
            <a:ext cx="326214" cy="11237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Pfeil: nach unten 95">
            <a:extLst>
              <a:ext uri="{FF2B5EF4-FFF2-40B4-BE49-F238E27FC236}">
                <a16:creationId xmlns:a16="http://schemas.microsoft.com/office/drawing/2014/main" id="{84312E47-BF92-4560-88FE-7C6B67567560}"/>
              </a:ext>
            </a:extLst>
          </p:cNvPr>
          <p:cNvSpPr/>
          <p:nvPr/>
        </p:nvSpPr>
        <p:spPr>
          <a:xfrm rot="5400000">
            <a:off x="2339492" y="3030214"/>
            <a:ext cx="326214" cy="1123787"/>
          </a:xfrm>
          <a:prstGeom prst="down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Pfeil: nach unten 97">
            <a:extLst>
              <a:ext uri="{FF2B5EF4-FFF2-40B4-BE49-F238E27FC236}">
                <a16:creationId xmlns:a16="http://schemas.microsoft.com/office/drawing/2014/main" id="{7974E396-D453-45C2-B8DD-FA308BD572A9}"/>
              </a:ext>
            </a:extLst>
          </p:cNvPr>
          <p:cNvSpPr/>
          <p:nvPr/>
        </p:nvSpPr>
        <p:spPr>
          <a:xfrm>
            <a:off x="5093666" y="1283833"/>
            <a:ext cx="326214" cy="5539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Pfeil: nach unten 98">
            <a:extLst>
              <a:ext uri="{FF2B5EF4-FFF2-40B4-BE49-F238E27FC236}">
                <a16:creationId xmlns:a16="http://schemas.microsoft.com/office/drawing/2014/main" id="{F14AC620-30C3-4C94-A5F6-CE17A1D3B11D}"/>
              </a:ext>
            </a:extLst>
          </p:cNvPr>
          <p:cNvSpPr/>
          <p:nvPr/>
        </p:nvSpPr>
        <p:spPr>
          <a:xfrm rot="10800000">
            <a:off x="5480903" y="1249034"/>
            <a:ext cx="326214" cy="553987"/>
          </a:xfrm>
          <a:prstGeom prst="down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C5E6E6B9-FC2F-4A75-BCE1-28B43DEF86FF}"/>
              </a:ext>
            </a:extLst>
          </p:cNvPr>
          <p:cNvSpPr txBox="1"/>
          <p:nvPr/>
        </p:nvSpPr>
        <p:spPr>
          <a:xfrm>
            <a:off x="7625896" y="5034318"/>
            <a:ext cx="980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ether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D67F8245-AB01-476C-9C2B-53CA9861E554}"/>
              </a:ext>
            </a:extLst>
          </p:cNvPr>
          <p:cNvSpPr txBox="1"/>
          <p:nvPr/>
        </p:nvSpPr>
        <p:spPr>
          <a:xfrm>
            <a:off x="7680491" y="5998627"/>
            <a:ext cx="489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10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113B6781-E943-4BC5-AA38-6A2AE9178F2B}"/>
              </a:ext>
            </a:extLst>
          </p:cNvPr>
          <p:cNvSpPr txBox="1"/>
          <p:nvPr/>
        </p:nvSpPr>
        <p:spPr>
          <a:xfrm>
            <a:off x="5605930" y="5008166"/>
            <a:ext cx="980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 ether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8B615D1A-E913-4672-AF85-A71DE260130F}"/>
              </a:ext>
            </a:extLst>
          </p:cNvPr>
          <p:cNvSpPr txBox="1"/>
          <p:nvPr/>
        </p:nvSpPr>
        <p:spPr>
          <a:xfrm>
            <a:off x="5861215" y="6055867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0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5EC77CA2-2071-4FD6-8E07-CD622B5A4A56}"/>
              </a:ext>
            </a:extLst>
          </p:cNvPr>
          <p:cNvSpPr txBox="1"/>
          <p:nvPr/>
        </p:nvSpPr>
        <p:spPr>
          <a:xfrm>
            <a:off x="10462610" y="5809419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ad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0713CFC2-7FE6-4B1C-B6CD-91B4CD654D12}"/>
              </a:ext>
            </a:extLst>
          </p:cNvPr>
          <p:cNvSpPr txBox="1"/>
          <p:nvPr/>
        </p:nvSpPr>
        <p:spPr>
          <a:xfrm>
            <a:off x="9873712" y="1170427"/>
            <a:ext cx="575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P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7C45427-7A7A-4632-9E2E-9CF15C78D0C1}"/>
              </a:ext>
            </a:extLst>
          </p:cNvPr>
          <p:cNvSpPr txBox="1"/>
          <p:nvPr/>
        </p:nvSpPr>
        <p:spPr>
          <a:xfrm>
            <a:off x="3242784" y="1138652"/>
            <a:ext cx="593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id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CA9AD017-944C-41AA-8763-D9EAD70D414E}"/>
              </a:ext>
            </a:extLst>
          </p:cNvPr>
          <p:cNvSpPr txBox="1"/>
          <p:nvPr/>
        </p:nvSpPr>
        <p:spPr>
          <a:xfrm>
            <a:off x="1724701" y="2121845"/>
            <a:ext cx="888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ttery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6A5E13A0-16B4-441C-9A56-B1FC7368D331}"/>
              </a:ext>
            </a:extLst>
          </p:cNvPr>
          <p:cNvSpPr txBox="1"/>
          <p:nvPr/>
        </p:nvSpPr>
        <p:spPr>
          <a:xfrm>
            <a:off x="2996749" y="6182682"/>
            <a:ext cx="443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V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547CB60D-C695-4AEC-BD04-38265ECED0B4}"/>
              </a:ext>
            </a:extLst>
          </p:cNvPr>
          <p:cNvSpPr txBox="1"/>
          <p:nvPr/>
        </p:nvSpPr>
        <p:spPr>
          <a:xfrm>
            <a:off x="6079885" y="512277"/>
            <a:ext cx="489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30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4D6AECA9-25E9-4284-8345-E070E3CE885C}"/>
              </a:ext>
            </a:extLst>
          </p:cNvPr>
          <p:cNvSpPr txBox="1"/>
          <p:nvPr/>
        </p:nvSpPr>
        <p:spPr>
          <a:xfrm>
            <a:off x="4163168" y="1360864"/>
            <a:ext cx="1033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  ether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71C1F79D-C3A1-41C5-B718-8C815431C9A0}"/>
              </a:ext>
            </a:extLst>
          </p:cNvPr>
          <p:cNvSpPr txBox="1"/>
          <p:nvPr/>
        </p:nvSpPr>
        <p:spPr>
          <a:xfrm>
            <a:off x="5714266" y="356288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0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CA2B07F7-765E-44D3-AAFF-77AF5F058548}"/>
              </a:ext>
            </a:extLst>
          </p:cNvPr>
          <p:cNvSpPr txBox="1"/>
          <p:nvPr/>
        </p:nvSpPr>
        <p:spPr>
          <a:xfrm>
            <a:off x="5719709" y="2773409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0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33B2A65-0427-4503-96F2-105E264B28F9}"/>
              </a:ext>
            </a:extLst>
          </p:cNvPr>
          <p:cNvSpPr txBox="1"/>
          <p:nvPr/>
        </p:nvSpPr>
        <p:spPr>
          <a:xfrm>
            <a:off x="5636421" y="4097311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0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D4BF2010-37B5-4EAA-ACD1-A56053057AAD}"/>
              </a:ext>
            </a:extLst>
          </p:cNvPr>
          <p:cNvSpPr txBox="1"/>
          <p:nvPr/>
        </p:nvSpPr>
        <p:spPr>
          <a:xfrm>
            <a:off x="5697622" y="4097311"/>
            <a:ext cx="53412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0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EABA53F-DF88-43E8-9EF8-0D4BA063E16B}"/>
              </a:ext>
            </a:extLst>
          </p:cNvPr>
          <p:cNvSpPr/>
          <p:nvPr/>
        </p:nvSpPr>
        <p:spPr>
          <a:xfrm>
            <a:off x="5776649" y="2860128"/>
            <a:ext cx="404624" cy="16377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A5048CA4-B28C-4ADD-BD50-08F764E09B4D}"/>
              </a:ext>
            </a:extLst>
          </p:cNvPr>
          <p:cNvSpPr txBox="1"/>
          <p:nvPr/>
        </p:nvSpPr>
        <p:spPr>
          <a:xfrm>
            <a:off x="3549300" y="3237615"/>
            <a:ext cx="9973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lance:</a:t>
            </a:r>
          </a:p>
        </p:txBody>
      </p:sp>
    </p:spTree>
    <p:extLst>
      <p:ext uri="{BB962C8B-B14F-4D97-AF65-F5344CB8AC3E}">
        <p14:creationId xmlns:p14="http://schemas.microsoft.com/office/powerpoint/2010/main" val="1275215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/>
      <p:bldP spid="101" grpId="0"/>
      <p:bldP spid="102" grpId="0"/>
      <p:bldP spid="103" grpId="0"/>
      <p:bldP spid="109" grpId="0"/>
      <p:bldP spid="110" grpId="0"/>
      <p:bldP spid="112" grpId="0"/>
      <p:bldP spid="113" grpId="0"/>
      <p:bldP spid="114" grpId="0"/>
      <p:bldP spid="115" grpId="0" animBg="1"/>
      <p:bldP spid="1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109888"/>
            <a:ext cx="10515600" cy="1325563"/>
          </a:xfrm>
        </p:spPr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Live Demo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292169" y="6382987"/>
            <a:ext cx="910236" cy="365125"/>
          </a:xfrm>
        </p:spPr>
        <p:txBody>
          <a:bodyPr/>
          <a:lstStyle/>
          <a:p>
            <a:r>
              <a:rPr lang="de-DE"/>
              <a:t>15.06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463603" y="6382987"/>
            <a:ext cx="2377552" cy="365125"/>
          </a:xfrm>
        </p:spPr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heckou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630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3600" y="1773238"/>
            <a:ext cx="11328400" cy="1655762"/>
          </a:xfrm>
        </p:spPr>
        <p:txBody>
          <a:bodyPr>
            <a:normAutofit fontScale="90000"/>
          </a:bodyPr>
          <a:lstStyle/>
          <a:p>
            <a:r>
              <a:rPr lang="de-DE"/>
              <a:t>Thank You!</a:t>
            </a:r>
            <a:br>
              <a:rPr lang="de-DE" dirty="0"/>
            </a:br>
            <a:br>
              <a:rPr lang="de-DE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71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7</Words>
  <Application>Microsoft Office PowerPoint</Application>
  <PresentationFormat>Breitbild</PresentationFormat>
  <Paragraphs>81</Paragraphs>
  <Slides>9</Slides>
  <Notes>4</Notes>
  <HiddenSlides>1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Tele-GroteskFet</vt:lpstr>
      <vt:lpstr>Tele-GroteskNor</vt:lpstr>
      <vt:lpstr>Wingdings</vt:lpstr>
      <vt:lpstr>Benutzerdefiniertes Design</vt:lpstr>
      <vt:lpstr>1_Benutzerdefiniertes Design</vt:lpstr>
      <vt:lpstr>Office</vt:lpstr>
      <vt:lpstr>think-cell Folie</vt:lpstr>
      <vt:lpstr>Hackathon Smart Contract</vt:lpstr>
      <vt:lpstr>Video</vt:lpstr>
      <vt:lpstr>Project Goal</vt:lpstr>
      <vt:lpstr>Project Task</vt:lpstr>
      <vt:lpstr>Component Layer</vt:lpstr>
      <vt:lpstr>PowerPoint-Präsentation</vt:lpstr>
      <vt:lpstr>PowerPoint-Präsentation</vt:lpstr>
      <vt:lpstr>Live Demo</vt:lpstr>
      <vt:lpstr>Thank You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T Hackathon: Smart Checkout</dc:title>
  <dc:creator>Mario</dc:creator>
  <cp:lastModifiedBy>Philipp Noack</cp:lastModifiedBy>
  <cp:revision>398</cp:revision>
  <cp:lastPrinted>2012-09-04T09:22:48Z</cp:lastPrinted>
  <dcterms:created xsi:type="dcterms:W3CDTF">2011-07-07T11:12:14Z</dcterms:created>
  <dcterms:modified xsi:type="dcterms:W3CDTF">2018-07-13T20:3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